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0"/>
  </p:notesMasterIdLst>
  <p:sldIdLst>
    <p:sldId id="267" r:id="rId5"/>
    <p:sldId id="268" r:id="rId6"/>
    <p:sldId id="269" r:id="rId7"/>
    <p:sldId id="271" r:id="rId8"/>
    <p:sldId id="272" r:id="rId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3" d="100"/>
          <a:sy n="63" d="100"/>
        </p:scale>
        <p:origin x="1378" y="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26F3DD-65F6-4AD1-B232-1E06156E00D5}" type="datetimeFigureOut">
              <a:rPr lang="en-US" smtClean="0"/>
              <a:t>1/24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13E61B-A088-46AC-BAAC-041BE8237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7239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13E61B-A088-46AC-BAAC-041BE823730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8090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13E61B-A088-46AC-BAAC-041BE823730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702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13E61B-A088-46AC-BAAC-041BE823730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702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13E61B-A088-46AC-BAAC-041BE823730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702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13E61B-A088-46AC-BAAC-041BE823730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702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1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4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65677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4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2987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4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25952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4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6965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4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53744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1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4/2017 Revision:  B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2415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1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4/2017 Revision:  B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4880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1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4/2017 Revision:  B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8647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1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4/2017 Revision:  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0347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1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4/2017 Revision:  B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5195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1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4/2017 Revision:  B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3146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TSCMT 7.1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pproved by: F Mariot  Approval date: 12/14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746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jpe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720975"/>
            <a:ext cx="7772400" cy="1470025"/>
          </a:xfrm>
        </p:spPr>
        <p:txBody>
          <a:bodyPr>
            <a:normAutofit/>
          </a:bodyPr>
          <a:lstStyle/>
          <a:p>
            <a:pPr algn="l"/>
            <a:r>
              <a:rPr lang="en-US" sz="3200" dirty="0"/>
              <a:t>Supplier Initiate E-</a:t>
            </a:r>
            <a:r>
              <a:rPr lang="en-US" sz="3200" dirty="0" err="1"/>
              <a:t>NoE</a:t>
            </a:r>
            <a:r>
              <a:rPr lang="en-US" sz="3200" dirty="0"/>
              <a:t> – TSCMT 7.1</a:t>
            </a:r>
            <a:br>
              <a:rPr lang="en-US" sz="3200" dirty="0"/>
            </a:br>
            <a:r>
              <a:rPr lang="en-US" sz="2400" dirty="0"/>
              <a:t>Scope: Instructions for initiation of a new supplier notification of escape</a:t>
            </a:r>
            <a:endParaRPr lang="en-US" sz="3200" dirty="0"/>
          </a:p>
        </p:txBody>
      </p:sp>
      <p:pic>
        <p:nvPicPr>
          <p:cNvPr id="4" name="Picture 11" descr="TG_2C.jp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85874" y="652689"/>
            <a:ext cx="2160588" cy="67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265113" y="2036763"/>
            <a:ext cx="861377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301625" y="5030788"/>
            <a:ext cx="861377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4/2017 Revision:  B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1</a:t>
            </a:fld>
            <a:endParaRPr lang="en-US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0898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02E3EF5-D842-47DE-8107-0215F5D5907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149" t="10679" r="55087" b="53119"/>
          <a:stretch/>
        </p:blipFill>
        <p:spPr>
          <a:xfrm>
            <a:off x="685800" y="1517649"/>
            <a:ext cx="8001000" cy="3822701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3352800" y="485971"/>
            <a:ext cx="4730782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Step 1.  Select “New E-NOE” from E-NOES  menu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4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2</a:t>
            </a:fld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1</a:t>
            </a:r>
          </a:p>
        </p:txBody>
      </p:sp>
      <p:cxnSp>
        <p:nvCxnSpPr>
          <p:cNvPr id="7" name="Straight Arrow Connector 6"/>
          <p:cNvCxnSpPr>
            <a:cxnSpLocks/>
          </p:cNvCxnSpPr>
          <p:nvPr/>
        </p:nvCxnSpPr>
        <p:spPr>
          <a:xfrm>
            <a:off x="5690759" y="812798"/>
            <a:ext cx="481441" cy="124460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77736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76605B0-72BF-437E-AF0A-2131A5B211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525" y="783980"/>
            <a:ext cx="5895975" cy="531202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28600" y="185689"/>
            <a:ext cx="2209800" cy="5232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Step 2.  Complete all sections of the E-NO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4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3</a:t>
            </a:fld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1</a:t>
            </a:r>
          </a:p>
        </p:txBody>
      </p:sp>
      <p:cxnSp>
        <p:nvCxnSpPr>
          <p:cNvPr id="10" name="Straight Arrow Connector 9"/>
          <p:cNvCxnSpPr>
            <a:cxnSpLocks/>
          </p:cNvCxnSpPr>
          <p:nvPr/>
        </p:nvCxnSpPr>
        <p:spPr>
          <a:xfrm flipH="1">
            <a:off x="6019800" y="1095284"/>
            <a:ext cx="202866" cy="126691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Left Brace 4">
            <a:extLst>
              <a:ext uri="{FF2B5EF4-FFF2-40B4-BE49-F238E27FC236}">
                <a16:creationId xmlns:a16="http://schemas.microsoft.com/office/drawing/2014/main" id="{3D6250F2-235C-466A-97FA-DE689E98DBA6}"/>
              </a:ext>
            </a:extLst>
          </p:cNvPr>
          <p:cNvSpPr/>
          <p:nvPr/>
        </p:nvSpPr>
        <p:spPr>
          <a:xfrm>
            <a:off x="4572000" y="2803199"/>
            <a:ext cx="838200" cy="1048425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6146131" y="413953"/>
            <a:ext cx="2733675" cy="1169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Select the Triumph Company that nonconforming product was delivered to. If multiple Companies are affected, initiate a separate E-NoE for each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121233" y="1953531"/>
            <a:ext cx="2733675" cy="18158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Select who discovered the nonconformance from the drop down list. If additional clarification and/or explanation is required, include text in “Additional Comments” field. Select Responsible Party from drop down lis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0877E1C-93F5-46AD-8752-DFC314850CA0}"/>
              </a:ext>
            </a:extLst>
          </p:cNvPr>
          <p:cNvSpPr txBox="1"/>
          <p:nvPr/>
        </p:nvSpPr>
        <p:spPr>
          <a:xfrm>
            <a:off x="6146131" y="3844371"/>
            <a:ext cx="2733675" cy="1169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Provide statement of requirement and nonconformance description.  Note:  Clicking on the blue question mark bubble will provide examples of field content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0E99E3B-FB76-4F20-8198-BEC49F5BB34D}"/>
              </a:ext>
            </a:extLst>
          </p:cNvPr>
          <p:cNvSpPr txBox="1"/>
          <p:nvPr/>
        </p:nvSpPr>
        <p:spPr>
          <a:xfrm>
            <a:off x="5984206" y="5056624"/>
            <a:ext cx="2895600" cy="1169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Include attachments as necessary to help convey nonconforming condition.  Also include a copy of the latest FAI (first article inspection) report.  </a:t>
            </a:r>
          </a:p>
        </p:txBody>
      </p:sp>
    </p:spTree>
    <p:extLst>
      <p:ext uri="{BB962C8B-B14F-4D97-AF65-F5344CB8AC3E}">
        <p14:creationId xmlns:p14="http://schemas.microsoft.com/office/powerpoint/2010/main" val="9404888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4E70132-FAB8-4C90-91DA-51D513CE91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925" y="1219200"/>
            <a:ext cx="6610350" cy="371246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28600" y="185689"/>
            <a:ext cx="2209800" cy="5232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Step 2 cont’d.  Complete all sections of the E-NO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4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4</a:t>
            </a:fld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1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248400" y="1219200"/>
            <a:ext cx="2209800" cy="13849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Download the included Excel Template, provide requested information, save file, and upload completed excel file using the “Browse” link</a:t>
            </a:r>
          </a:p>
        </p:txBody>
      </p:sp>
      <p:cxnSp>
        <p:nvCxnSpPr>
          <p:cNvPr id="7" name="Straight Arrow Connector 6"/>
          <p:cNvCxnSpPr>
            <a:cxnSpLocks/>
            <a:stCxn id="9" idx="1"/>
          </p:cNvCxnSpPr>
          <p:nvPr/>
        </p:nvCxnSpPr>
        <p:spPr>
          <a:xfrm flipH="1">
            <a:off x="1371600" y="1911698"/>
            <a:ext cx="4876800" cy="106679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6248400" y="3187005"/>
            <a:ext cx="2209800" cy="13849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Provide your recommended disposition of nonconforming product delivered and current availability of replacement product.</a:t>
            </a:r>
          </a:p>
        </p:txBody>
      </p:sp>
      <p:sp>
        <p:nvSpPr>
          <p:cNvPr id="16" name="Left Brace 15">
            <a:extLst>
              <a:ext uri="{FF2B5EF4-FFF2-40B4-BE49-F238E27FC236}">
                <a16:creationId xmlns:a16="http://schemas.microsoft.com/office/drawing/2014/main" id="{3F12086D-EC43-4FEE-81F0-CD7574065975}"/>
              </a:ext>
            </a:extLst>
          </p:cNvPr>
          <p:cNvSpPr/>
          <p:nvPr/>
        </p:nvSpPr>
        <p:spPr>
          <a:xfrm>
            <a:off x="5029200" y="3158163"/>
            <a:ext cx="838200" cy="1413837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0474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81107B2-F41D-4C23-8D54-322BE067BB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907" y="538853"/>
            <a:ext cx="4441693" cy="5785747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2700" y="57780"/>
            <a:ext cx="4038600" cy="30777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Step 2 cont’d.  Complete all sections of the E-NO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4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5</a:t>
            </a:fld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1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562600" y="881946"/>
            <a:ext cx="3048000" cy="95410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Provide requested information in Step 1 – Supplier Containment fields.</a:t>
            </a:r>
          </a:p>
          <a:p>
            <a:r>
              <a:rPr lang="en-US" sz="1400" dirty="0"/>
              <a:t>Provide attachments as required to support response.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562600" y="3078300"/>
            <a:ext cx="3124200" cy="95410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Provide requested information in Step 2 – Immediate Action fields.</a:t>
            </a:r>
          </a:p>
          <a:p>
            <a:r>
              <a:rPr lang="en-US" sz="1400" dirty="0"/>
              <a:t>Provide attachments as required to support response.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562600" y="4863405"/>
            <a:ext cx="3124200" cy="13849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If not complete, select “Save and Close”, NOE will display with a saved status on suppliers home page.</a:t>
            </a:r>
          </a:p>
          <a:p>
            <a:r>
              <a:rPr lang="en-US" sz="1400" dirty="0"/>
              <a:t>If complete, select “Save and Submit to Triumph.”</a:t>
            </a:r>
          </a:p>
          <a:p>
            <a:r>
              <a:rPr lang="en-US" sz="1400" dirty="0"/>
              <a:t>Click on “Process E-NOE” </a:t>
            </a:r>
          </a:p>
        </p:txBody>
      </p:sp>
      <p:sp>
        <p:nvSpPr>
          <p:cNvPr id="33" name="Left Brace 32">
            <a:extLst>
              <a:ext uri="{FF2B5EF4-FFF2-40B4-BE49-F238E27FC236}">
                <a16:creationId xmlns:a16="http://schemas.microsoft.com/office/drawing/2014/main" id="{C27371BE-A93F-449E-9F3E-371210855315}"/>
              </a:ext>
            </a:extLst>
          </p:cNvPr>
          <p:cNvSpPr/>
          <p:nvPr/>
        </p:nvSpPr>
        <p:spPr>
          <a:xfrm>
            <a:off x="4686300" y="881946"/>
            <a:ext cx="838200" cy="1600438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Left Brace 35">
            <a:extLst>
              <a:ext uri="{FF2B5EF4-FFF2-40B4-BE49-F238E27FC236}">
                <a16:creationId xmlns:a16="http://schemas.microsoft.com/office/drawing/2014/main" id="{F4923AB2-6B4A-4462-9B27-5798A78B4FF2}"/>
              </a:ext>
            </a:extLst>
          </p:cNvPr>
          <p:cNvSpPr/>
          <p:nvPr/>
        </p:nvSpPr>
        <p:spPr>
          <a:xfrm>
            <a:off x="4686300" y="3130059"/>
            <a:ext cx="838200" cy="1413837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Left Brace 37">
            <a:extLst>
              <a:ext uri="{FF2B5EF4-FFF2-40B4-BE49-F238E27FC236}">
                <a16:creationId xmlns:a16="http://schemas.microsoft.com/office/drawing/2014/main" id="{BB29852E-36E9-4D77-952C-9A82C6115024}"/>
              </a:ext>
            </a:extLst>
          </p:cNvPr>
          <p:cNvSpPr/>
          <p:nvPr/>
        </p:nvSpPr>
        <p:spPr>
          <a:xfrm>
            <a:off x="4686300" y="4852390"/>
            <a:ext cx="838200" cy="1413837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835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F38F0665F619440A026651497F1F213" ma:contentTypeVersion="3" ma:contentTypeDescription="Create a new document." ma:contentTypeScope="" ma:versionID="512b5843f1e14b88544e85f14ee9ecba">
  <xsd:schema xmlns:xsd="http://www.w3.org/2001/XMLSchema" xmlns:xs="http://www.w3.org/2001/XMLSchema" xmlns:p="http://schemas.microsoft.com/office/2006/metadata/properties" xmlns:ns2="d144ef81-a420-4d3d-9c25-279f13b02980" targetNamespace="http://schemas.microsoft.com/office/2006/metadata/properties" ma:root="true" ma:fieldsID="c0847651f4081285bd038afb0c244fa7" ns2:_="">
    <xsd:import namespace="d144ef81-a420-4d3d-9c25-279f13b02980"/>
    <xsd:element name="properties">
      <xsd:complexType>
        <xsd:sequence>
          <xsd:element name="documentManagement">
            <xsd:complexType>
              <xsd:all>
                <xsd:element ref="ns2:Folder"/>
                <xsd:element ref="ns2:Revision_x0020_Level"/>
                <xsd:element ref="ns2:Effective_x0020_Dat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44ef81-a420-4d3d-9c25-279f13b02980" elementFormDefault="qualified">
    <xsd:import namespace="http://schemas.microsoft.com/office/2006/documentManagement/types"/>
    <xsd:import namespace="http://schemas.microsoft.com/office/infopath/2007/PartnerControls"/>
    <xsd:element name="Folder" ma:index="8" ma:displayName="Folder" ma:default="Section 1.0" ma:format="Dropdown" ma:internalName="Folder">
      <xsd:simpleType>
        <xsd:restriction base="dms:Choice">
          <xsd:enumeration value="Section 1.0"/>
          <xsd:enumeration value="Section 2.0"/>
          <xsd:enumeration value="Section 3.0"/>
          <xsd:enumeration value="Section 4.0"/>
          <xsd:enumeration value="Section 5.0"/>
          <xsd:enumeration value="Section 6.0"/>
          <xsd:enumeration value="Section 7.0"/>
          <xsd:enumeration value="Section 8.0"/>
        </xsd:restriction>
      </xsd:simpleType>
    </xsd:element>
    <xsd:element name="Revision_x0020_Level" ma:index="9" ma:displayName="Revision Level" ma:internalName="Revision_x0020_Level">
      <xsd:simpleType>
        <xsd:restriction base="dms:Text">
          <xsd:maxLength value="255"/>
        </xsd:restriction>
      </xsd:simpleType>
    </xsd:element>
    <xsd:element name="Effective_x0020_Date" ma:index="10" ma:displayName="Effective Date" ma:format="DateOnly" ma:internalName="Effective_x0020_Dat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vision_x0020_Level xmlns="d144ef81-a420-4d3d-9c25-279f13b02980">A</Revision_x0020_Level>
    <Effective_x0020_Date xmlns="d144ef81-a420-4d3d-9c25-279f13b02980">2017-02-13T05:00:00+00:00</Effective_x0020_Date>
    <Folder xmlns="d144ef81-a420-4d3d-9c25-279f13b02980">Section 7.0</Folder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CFB5E7C-B4FC-434A-98EC-3BC5C867B41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144ef81-a420-4d3d-9c25-279f13b0298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FC77878-5FCD-4A93-8CD8-C427D6F89F0B}">
  <ds:schemaRefs>
    <ds:schemaRef ds:uri="http://purl.org/dc/terms/"/>
    <ds:schemaRef ds:uri="http://www.w3.org/XML/1998/namespace"/>
    <ds:schemaRef ds:uri="http://purl.org/dc/dcmitype/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d144ef81-a420-4d3d-9c25-279f13b02980"/>
    <ds:schemaRef ds:uri="http://schemas.microsoft.com/office/infopath/2007/PartnerControl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4D6D3AFD-0E41-4EF7-983C-0B4AAFB1E21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36</TotalTime>
  <Words>352</Words>
  <Application>Microsoft Office PowerPoint</Application>
  <PresentationFormat>On-screen Show (4:3)</PresentationFormat>
  <Paragraphs>38</Paragraphs>
  <Slides>5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8" baseType="lpstr">
      <vt:lpstr>Arial</vt:lpstr>
      <vt:lpstr>Calibri</vt:lpstr>
      <vt:lpstr>Office Theme</vt:lpstr>
      <vt:lpstr>Supplier Initiate E-NoE – TSCMT 7.1 Scope: Instructions for initiation of a new supplier notification of escape</vt:lpstr>
      <vt:lpstr>PowerPoint Presentation</vt:lpstr>
      <vt:lpstr>PowerPoint Presentation</vt:lpstr>
      <vt:lpstr>PowerPoint Presentation</vt:lpstr>
      <vt:lpstr>PowerPoint Presentation</vt:lpstr>
    </vt:vector>
  </TitlesOfParts>
  <Company>Triumph Aerostructures - Vought Aircraft Divis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ot, Frank</dc:creator>
  <cp:lastModifiedBy>Willford, Eric</cp:lastModifiedBy>
  <cp:revision>52</cp:revision>
  <dcterms:created xsi:type="dcterms:W3CDTF">2013-02-27T15:23:51Z</dcterms:created>
  <dcterms:modified xsi:type="dcterms:W3CDTF">2018-01-24T16:39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F38F0665F619440A026651497F1F213</vt:lpwstr>
  </property>
</Properties>
</file>